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8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25400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3</c:v>
                </c:pt>
                <c:pt idx="6">
                  <c:v>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019-43F0-9A9C-168B67764C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25400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  <c:pt idx="5">
                  <c:v>3.2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019-43F0-9A9C-168B67764C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25400">
                <a:solidFill>
                  <a:schemeClr val="accent5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4.2</c:v>
                </c:pt>
                <c:pt idx="5">
                  <c:v>1.6</c:v>
                </c:pt>
                <c:pt idx="6">
                  <c:v>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019-43F0-9A9C-168B67764C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8184991"/>
        <c:axId val="148183351"/>
      </c:lineChart>
      <c:catAx>
        <c:axId val="1481849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3351"/>
        <c:crosses val="autoZero"/>
        <c:auto val="1"/>
        <c:lblAlgn val="ctr"/>
        <c:lblOffset val="100"/>
        <c:noMultiLvlLbl val="0"/>
      </c:catAx>
      <c:valAx>
        <c:axId val="1481833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4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25400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3</c:v>
                </c:pt>
                <c:pt idx="6">
                  <c:v>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2FF-4719-87CE-C017523172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25400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  <c:pt idx="5">
                  <c:v>3.2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2FF-4719-87CE-C017523172B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25400">
                <a:solidFill>
                  <a:schemeClr val="accent5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4.2</c:v>
                </c:pt>
                <c:pt idx="5">
                  <c:v>1.6</c:v>
                </c:pt>
                <c:pt idx="6">
                  <c:v>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2FF-4719-87CE-C01752317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8184991"/>
        <c:axId val="148183351"/>
      </c:lineChart>
      <c:catAx>
        <c:axId val="1481849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3351"/>
        <c:crosses val="autoZero"/>
        <c:auto val="1"/>
        <c:lblAlgn val="ctr"/>
        <c:lblOffset val="100"/>
        <c:noMultiLvlLbl val="0"/>
      </c:catAx>
      <c:valAx>
        <c:axId val="1481833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4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DC780-07CF-F61B-F8F2-344E57467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311AFE1-9E0D-18B2-F283-FE1E28454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Line Charts with Descriptions</a:t>
            </a: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CD5FFBE7-2A8F-3D90-0A35-B107999B667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6181269"/>
            <a:ext cx="8292465" cy="2523768"/>
          </a:xfrm>
        </p:spPr>
        <p:txBody>
          <a:bodyPr>
            <a:spAutoFit/>
          </a:bodyPr>
          <a:lstStyle/>
          <a:p>
            <a:pPr marL="360000" indent="-360000"/>
            <a:r>
              <a:rPr lang="en-US" altLang="ko-KR" sz="1800" dirty="0"/>
              <a:t>Lorem Ipsum is simply dummy text of the printing and typesetting industry. </a:t>
            </a:r>
          </a:p>
          <a:p>
            <a:pPr marL="360000" indent="-360000"/>
            <a:r>
              <a:rPr lang="en-US" altLang="ko-KR" sz="1800" dirty="0"/>
              <a:t>Lorem Ipsum is simply dummy text of the printing and typesetting industry. Lorem Ipsum has been the industry's standard dummy text</a:t>
            </a:r>
          </a:p>
          <a:p>
            <a:pPr marL="360000" indent="-360000"/>
            <a:r>
              <a:rPr lang="en-US" altLang="ko-KR" sz="1800" dirty="0"/>
              <a:t>Lorem Ipsum is simply dummy text of the printing and typesetting industry. Lorem Ipsum has been the industry's standard dummy text</a:t>
            </a:r>
          </a:p>
          <a:p>
            <a:pPr marL="360000" indent="-360000"/>
            <a:r>
              <a:rPr lang="en-US" altLang="ko-KR" sz="1800" dirty="0"/>
              <a:t>Lorem Ipsum is simply dummy text of the printing and typesetting industry. </a:t>
            </a:r>
          </a:p>
          <a:p>
            <a:pPr marL="360000" indent="-360000"/>
            <a:r>
              <a:rPr lang="en-US" altLang="ko-KR" sz="1800" dirty="0"/>
              <a:t>Lorem Ipsum is simply dummy text of the printing and typesetting industry. Lorem Ipsum has been the industry's standard dummy text</a:t>
            </a:r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8D60C605-593D-EDCF-5E23-77497CE3D62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6181269"/>
            <a:ext cx="8292465" cy="2523768"/>
          </a:xfrm>
        </p:spPr>
        <p:txBody>
          <a:bodyPr>
            <a:spAutoFit/>
          </a:bodyPr>
          <a:lstStyle/>
          <a:p>
            <a:pPr marL="360000" indent="-360000"/>
            <a:r>
              <a:rPr lang="en-US" altLang="ko-KR" sz="1800" dirty="0"/>
              <a:t>Lorem Ipsum is simply dummy text of the printing and typesetting industry. </a:t>
            </a:r>
          </a:p>
          <a:p>
            <a:pPr marL="360000" indent="-360000"/>
            <a:r>
              <a:rPr lang="en-US" altLang="ko-KR" sz="1800" dirty="0"/>
              <a:t>Lorem Ipsum is simply dummy text of the printing and typesetting industry. Lorem Ipsum has been the industry's standard dummy text</a:t>
            </a:r>
          </a:p>
          <a:p>
            <a:pPr marL="360000" indent="-360000"/>
            <a:r>
              <a:rPr lang="en-US" altLang="ko-KR" sz="1800" dirty="0"/>
              <a:t>Lorem Ipsum is simply dummy text of the printing and typesetting industry. Lorem Ipsum has been the industry's standard dummy text</a:t>
            </a:r>
          </a:p>
          <a:p>
            <a:pPr marL="360000" indent="-360000"/>
            <a:r>
              <a:rPr lang="en-US" altLang="ko-KR" sz="1800" dirty="0"/>
              <a:t>Lorem Ipsum is simply dummy text of the printing and typesetting industry. </a:t>
            </a:r>
          </a:p>
          <a:p>
            <a:pPr marL="360000" indent="-360000"/>
            <a:r>
              <a:rPr lang="en-US" altLang="ko-KR" sz="1800" dirty="0"/>
              <a:t>Lorem Ipsum is simply dummy text of the printing and typesetting industry. Lorem Ipsum has been the industry's standard dummy text</a:t>
            </a:r>
          </a:p>
        </p:txBody>
      </p:sp>
      <p:graphicFrame>
        <p:nvGraphicFramePr>
          <p:cNvPr id="6" name="图表 1">
            <a:extLst>
              <a:ext uri="{FF2B5EF4-FFF2-40B4-BE49-F238E27FC236}">
                <a16:creationId xmlns:a16="http://schemas.microsoft.com/office/drawing/2014/main" id="{FABDD7E9-C3AF-40A8-7E90-CF9020B280E1}"/>
              </a:ext>
            </a:extLst>
          </p:cNvPr>
          <p:cNvGraphicFramePr>
            <a:graphicFrameLocks noGrp="1"/>
          </p:cNvGraphicFramePr>
          <p:nvPr>
            <p:ph type="chart" sz="quarter" idx="13"/>
          </p:nvPr>
        </p:nvGraphicFramePr>
        <p:xfrm>
          <a:off x="714375" y="2380790"/>
          <a:ext cx="8293100" cy="3525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图表 1">
            <a:extLst>
              <a:ext uri="{FF2B5EF4-FFF2-40B4-BE49-F238E27FC236}">
                <a16:creationId xmlns:a16="http://schemas.microsoft.com/office/drawing/2014/main" id="{63AD1048-9381-FFD0-133C-0FDAE8EF9FD9}"/>
              </a:ext>
            </a:extLst>
          </p:cNvPr>
          <p:cNvGraphicFramePr>
            <a:graphicFrameLocks noGrp="1"/>
          </p:cNvGraphicFramePr>
          <p:nvPr>
            <p:ph type="chart" sz="quarter" idx="15"/>
          </p:nvPr>
        </p:nvGraphicFramePr>
        <p:xfrm>
          <a:off x="9280525" y="2380790"/>
          <a:ext cx="8293100" cy="3525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156FC-BC83-1733-0AC1-05AA401C6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6C25F6A0-841F-EA21-8843-3381297BDD9B}"/>
              </a:ext>
            </a:extLst>
          </p:cNvPr>
          <p:cNvSpPr txBox="1">
            <a:spLocks/>
          </p:cNvSpPr>
          <p:nvPr/>
        </p:nvSpPr>
        <p:spPr>
          <a:xfrm>
            <a:off x="714375" y="1952260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70C9C5DA-245F-3708-C37C-9181FFA73514}"/>
              </a:ext>
            </a:extLst>
          </p:cNvPr>
          <p:cNvSpPr txBox="1">
            <a:spLocks/>
          </p:cNvSpPr>
          <p:nvPr/>
        </p:nvSpPr>
        <p:spPr>
          <a:xfrm>
            <a:off x="9281160" y="1952260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583134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7</TotalTime>
  <Words>193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Line Charts with Descrip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65</cp:revision>
  <dcterms:created xsi:type="dcterms:W3CDTF">2006-08-16T00:00:00Z</dcterms:created>
  <dcterms:modified xsi:type="dcterms:W3CDTF">2025-10-06T09:53:06Z</dcterms:modified>
  <cp:category/>
  <dc:identifier>DAGkDf5R9EM</dc:identifier>
</cp:coreProperties>
</file>